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63"/>
  </p:notesMasterIdLst>
  <p:handoutMasterIdLst>
    <p:handoutMasterId r:id="rId64"/>
  </p:handoutMasterIdLst>
  <p:sldIdLst>
    <p:sldId id="260" r:id="rId2"/>
    <p:sldId id="262" r:id="rId3"/>
    <p:sldId id="299" r:id="rId4"/>
    <p:sldId id="300" r:id="rId5"/>
    <p:sldId id="345" r:id="rId6"/>
    <p:sldId id="264" r:id="rId7"/>
    <p:sldId id="296" r:id="rId8"/>
    <p:sldId id="342" r:id="rId9"/>
    <p:sldId id="265" r:id="rId10"/>
    <p:sldId id="344" r:id="rId11"/>
    <p:sldId id="267" r:id="rId12"/>
    <p:sldId id="268" r:id="rId13"/>
    <p:sldId id="269" r:id="rId14"/>
    <p:sldId id="270" r:id="rId15"/>
    <p:sldId id="271" r:id="rId16"/>
    <p:sldId id="272" r:id="rId17"/>
    <p:sldId id="315" r:id="rId18"/>
    <p:sldId id="316" r:id="rId19"/>
    <p:sldId id="346" r:id="rId20"/>
    <p:sldId id="347" r:id="rId21"/>
    <p:sldId id="348" r:id="rId22"/>
    <p:sldId id="349" r:id="rId23"/>
    <p:sldId id="350" r:id="rId24"/>
    <p:sldId id="351" r:id="rId25"/>
    <p:sldId id="323" r:id="rId26"/>
    <p:sldId id="352" r:id="rId27"/>
    <p:sldId id="353" r:id="rId28"/>
    <p:sldId id="354" r:id="rId29"/>
    <p:sldId id="355" r:id="rId30"/>
    <p:sldId id="331" r:id="rId31"/>
    <p:sldId id="327" r:id="rId32"/>
    <p:sldId id="332" r:id="rId33"/>
    <p:sldId id="333" r:id="rId34"/>
    <p:sldId id="334" r:id="rId35"/>
    <p:sldId id="335" r:id="rId36"/>
    <p:sldId id="336" r:id="rId37"/>
    <p:sldId id="337" r:id="rId38"/>
    <p:sldId id="338" r:id="rId39"/>
    <p:sldId id="339" r:id="rId40"/>
    <p:sldId id="340" r:id="rId41"/>
    <p:sldId id="341" r:id="rId42"/>
    <p:sldId id="273" r:id="rId43"/>
    <p:sldId id="274" r:id="rId44"/>
    <p:sldId id="275" r:id="rId45"/>
    <p:sldId id="276" r:id="rId46"/>
    <p:sldId id="277" r:id="rId47"/>
    <p:sldId id="278" r:id="rId48"/>
    <p:sldId id="279" r:id="rId49"/>
    <p:sldId id="280" r:id="rId50"/>
    <p:sldId id="282" r:id="rId51"/>
    <p:sldId id="283" r:id="rId52"/>
    <p:sldId id="284" r:id="rId53"/>
    <p:sldId id="285" r:id="rId54"/>
    <p:sldId id="286" r:id="rId55"/>
    <p:sldId id="287" r:id="rId56"/>
    <p:sldId id="288" r:id="rId57"/>
    <p:sldId id="289" r:id="rId58"/>
    <p:sldId id="290" r:id="rId59"/>
    <p:sldId id="291" r:id="rId60"/>
    <p:sldId id="343" r:id="rId61"/>
    <p:sldId id="294" r:id="rId6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CAB"/>
    <a:srgbClr val="ED106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24" autoAdjust="0"/>
    <p:restoredTop sz="94491" autoAdjust="0"/>
  </p:normalViewPr>
  <p:slideViewPr>
    <p:cSldViewPr showGuides="1">
      <p:cViewPr>
        <p:scale>
          <a:sx n="80" d="100"/>
          <a:sy n="80" d="100"/>
        </p:scale>
        <p:origin x="-1440" y="1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48874240"/>
        <c:axId val="48875776"/>
      </c:barChart>
      <c:catAx>
        <c:axId val="48874240"/>
        <c:scaling>
          <c:orientation val="minMax"/>
        </c:scaling>
        <c:axPos val="b"/>
        <c:numFmt formatCode="General" sourceLinked="0"/>
        <c:tickLblPos val="nextTo"/>
        <c:crossAx val="48875776"/>
        <c:crosses val="autoZero"/>
        <c:auto val="1"/>
        <c:lblAlgn val="ctr"/>
        <c:lblOffset val="100"/>
      </c:catAx>
      <c:valAx>
        <c:axId val="48875776"/>
        <c:scaling>
          <c:orientation val="minMax"/>
        </c:scaling>
        <c:axPos val="l"/>
        <c:majorGridlines/>
        <c:numFmt formatCode="General" sourceLinked="1"/>
        <c:tickLblPos val="nextTo"/>
        <c:crossAx val="48874240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50866048"/>
        <c:axId val="50867584"/>
      </c:barChart>
      <c:catAx>
        <c:axId val="50866048"/>
        <c:scaling>
          <c:orientation val="minMax"/>
        </c:scaling>
        <c:axPos val="b"/>
        <c:numFmt formatCode="General" sourceLinked="0"/>
        <c:tickLblPos val="nextTo"/>
        <c:crossAx val="50867584"/>
        <c:crosses val="autoZero"/>
        <c:auto val="1"/>
        <c:lblAlgn val="ctr"/>
        <c:lblOffset val="100"/>
      </c:catAx>
      <c:valAx>
        <c:axId val="50867584"/>
        <c:scaling>
          <c:orientation val="minMax"/>
        </c:scaling>
        <c:axPos val="l"/>
        <c:majorGridlines/>
        <c:numFmt formatCode="General" sourceLinked="1"/>
        <c:tickLblPos val="nextTo"/>
        <c:crossAx val="50866048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95BA2D-058B-4899-B526-E7B9F11604DB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063C0-8B72-4B5B-96E7-D2166A3EAD32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83473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91452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Астрономия углубляет знания по смежным с физикой темам.</a:t>
            </a:r>
          </a:p>
          <a:p>
            <a:pPr algn="just">
              <a:buNone/>
            </a:pPr>
            <a:endParaRPr lang="ru-RU" sz="800" dirty="0" smtClean="0">
              <a:solidFill>
                <a:schemeClr val="accent6">
                  <a:lumMod val="10000"/>
                </a:schemeClr>
              </a:solidFill>
            </a:endParaRPr>
          </a:p>
          <a:p>
            <a:pPr algn="just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Значительное количество тем предмета «Астрономия» в физике не встречаются вообщ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19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37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38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39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40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41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1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1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rofa-ventana.ru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www.youtube.com/watch?v=KVkBeffmNqk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hyperlink" Target="https://lecta.ru/" TargetMode="External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jpe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2636912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ru-RU" sz="4000" b="1" dirty="0" smtClean="0"/>
              <a:t>УМК «Астрономия»</a:t>
            </a:r>
            <a:br>
              <a:rPr lang="ru-RU" sz="4000" b="1" dirty="0" smtClean="0"/>
            </a:br>
            <a:r>
              <a:rPr lang="ru-RU" dirty="0" smtClean="0"/>
              <a:t> Базовый уровень</a:t>
            </a:r>
            <a:br>
              <a:rPr lang="ru-RU" dirty="0" smtClean="0"/>
            </a:br>
            <a:r>
              <a:rPr lang="ru-RU" dirty="0" smtClean="0"/>
              <a:t>11 класс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3648" y="4293096"/>
            <a:ext cx="6400800" cy="1752600"/>
          </a:xfrm>
        </p:spPr>
        <p:txBody>
          <a:bodyPr>
            <a:normAutofit/>
          </a:bodyPr>
          <a:lstStyle/>
          <a:p>
            <a:r>
              <a:rPr lang="ru-RU" sz="2800" i="1" dirty="0" smtClean="0"/>
              <a:t>Авторский коллектив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Б.А. Воронцов – Вельяминов, Е.К. </a:t>
            </a:r>
            <a:r>
              <a:rPr lang="ru-RU" sz="2800" dirty="0" err="1" smtClean="0"/>
              <a:t>Страут</a:t>
            </a:r>
            <a:endParaRPr lang="ru-RU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439248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sz="3200" dirty="0" smtClean="0"/>
              <a:t>Рабочие программы</a:t>
            </a:r>
            <a:endParaRPr lang="ru-RU" sz="3200" dirty="0"/>
          </a:p>
        </p:txBody>
      </p:sp>
      <p:pic>
        <p:nvPicPr>
          <p:cNvPr id="7" name="Рисунок 6"/>
          <p:cNvPicPr/>
          <p:nvPr/>
        </p:nvPicPr>
        <p:blipFill>
          <a:blip r:embed="rId2" cstate="print"/>
          <a:srcRect l="37520" t="16923" r="35542" b="54103"/>
          <a:stretch>
            <a:fillRect/>
          </a:stretch>
        </p:blipFill>
        <p:spPr bwMode="auto">
          <a:xfrm>
            <a:off x="179512" y="1628800"/>
            <a:ext cx="4248472" cy="302433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0" y="4941168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ru-RU" sz="2400" dirty="0" smtClean="0">
                <a:solidFill>
                  <a:srgbClr val="FF0000"/>
                </a:solidFill>
              </a:rPr>
              <a:t>в свободном доступе на сайте  </a:t>
            </a:r>
            <a:r>
              <a:rPr lang="en-US" sz="2400" dirty="0" smtClean="0">
                <a:solidFill>
                  <a:srgbClr val="FF0000"/>
                </a:solidFill>
                <a:hlinkClick r:id="rId3"/>
              </a:rPr>
              <a:t>http://www.drofa-ventana.ru/</a:t>
            </a:r>
            <a:r>
              <a:rPr lang="ru-RU" sz="2400" dirty="0" smtClean="0">
                <a:solidFill>
                  <a:srgbClr val="FF0000"/>
                </a:solidFill>
              </a:rPr>
              <a:t> </a:t>
            </a:r>
            <a:endParaRPr lang="ru-RU" sz="2400" dirty="0">
              <a:solidFill>
                <a:srgbClr val="FF0000"/>
              </a:solidFill>
            </a:endParaRPr>
          </a:p>
        </p:txBody>
      </p:sp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4" cstate="print"/>
          <a:srcRect l="34474" t="11026" r="32496" b="4103"/>
          <a:stretch>
            <a:fillRect/>
          </a:stretch>
        </p:blipFill>
        <p:spPr bwMode="auto">
          <a:xfrm>
            <a:off x="4572000" y="332656"/>
            <a:ext cx="2952328" cy="46085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84168" y="2132856"/>
            <a:ext cx="2904244" cy="460851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  <a:effectLst>
            <a:outerShdw blurRad="292100" dist="139700" dir="2700000" algn="l" rotWithShape="0">
              <a:schemeClr val="tx2">
                <a:alpha val="65000"/>
              </a:scheme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 anchor="ctr" anchorCtr="0">
            <a:normAutofit/>
          </a:bodyPr>
          <a:lstStyle/>
          <a:p>
            <a:r>
              <a:rPr lang="ru-RU" sz="3600" dirty="0" smtClean="0"/>
              <a:t>Учебник</a:t>
            </a:r>
            <a:endParaRPr lang="ru-RU" sz="3600" dirty="0"/>
          </a:p>
        </p:txBody>
      </p:sp>
      <p:pic>
        <p:nvPicPr>
          <p:cNvPr id="6" name="Содержимое 6" descr="5867_big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716016" y="548680"/>
            <a:ext cx="3960440" cy="5948077"/>
          </a:xfrm>
          <a:ln>
            <a:solidFill>
              <a:srgbClr val="005CAB"/>
            </a:solidFill>
          </a:ln>
        </p:spPr>
      </p:pic>
      <p:sp>
        <p:nvSpPr>
          <p:cNvPr id="4" name="Текст 3"/>
          <p:cNvSpPr>
            <a:spLocks noGrp="1"/>
          </p:cNvSpPr>
          <p:nvPr>
            <p:ph sz="half" idx="2"/>
          </p:nvPr>
        </p:nvSpPr>
        <p:spPr>
          <a:xfrm>
            <a:off x="179512" y="1556792"/>
            <a:ext cx="4038600" cy="4525963"/>
          </a:xfrm>
        </p:spPr>
        <p:txBody>
          <a:bodyPr>
            <a:noAutofit/>
          </a:bodyPr>
          <a:lstStyle/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Введение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актические основы астрономии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рода тел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олнце и звёзд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и эволюция Вселенной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ложения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Ответы к задачам</a:t>
            </a:r>
            <a:endParaRPr lang="ru-RU" sz="2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220128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788024" y="692696"/>
            <a:ext cx="3744416" cy="5645676"/>
          </a:xfrm>
          <a:ln>
            <a:solidFill>
              <a:srgbClr val="005CAB"/>
            </a:solidFill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51520" y="944724"/>
            <a:ext cx="3603916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2060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В </a:t>
            </a:r>
            <a:r>
              <a:rPr lang="ru-RU" sz="2400" dirty="0">
                <a:solidFill>
                  <a:srgbClr val="002060"/>
                </a:solidFill>
              </a:rPr>
              <a:t>начале главы закладывается </a:t>
            </a:r>
            <a:r>
              <a:rPr lang="ru-RU" sz="2400" dirty="0" smtClean="0">
                <a:solidFill>
                  <a:srgbClr val="002060"/>
                </a:solidFill>
              </a:rPr>
              <a:t>проблематика</a:t>
            </a:r>
          </a:p>
          <a:p>
            <a:pPr>
              <a:spcBef>
                <a:spcPct val="50000"/>
              </a:spcBef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  Параграфы </a:t>
            </a:r>
            <a:r>
              <a:rPr lang="ru-RU" sz="2400" dirty="0">
                <a:solidFill>
                  <a:srgbClr val="002060"/>
                </a:solidFill>
              </a:rPr>
              <a:t>разделены на пункты, каждый из которых имеет </a:t>
            </a:r>
            <a:r>
              <a:rPr lang="ru-RU" sz="2400" dirty="0" smtClean="0">
                <a:solidFill>
                  <a:srgbClr val="002060"/>
                </a:solidFill>
              </a:rPr>
              <a:t>номер и название</a:t>
            </a:r>
            <a:endParaRPr lang="ru-RU" sz="2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Содержимое 7" descr="220236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99592" y="404664"/>
            <a:ext cx="7397911" cy="5544616"/>
          </a:xfrm>
          <a:ln>
            <a:solidFill>
              <a:srgbClr val="005CAB"/>
            </a:solidFill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467544" y="5913276"/>
            <a:ext cx="38520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336699"/>
                </a:solidFill>
              </a:rPr>
              <a:t>Примеры </a:t>
            </a:r>
            <a:r>
              <a:rPr lang="ru-RU" sz="2400" dirty="0">
                <a:solidFill>
                  <a:srgbClr val="336699"/>
                </a:solidFill>
              </a:rPr>
              <a:t>решения </a:t>
            </a:r>
            <a:r>
              <a:rPr lang="ru-RU" sz="2400" dirty="0" smtClean="0">
                <a:solidFill>
                  <a:srgbClr val="336699"/>
                </a:solidFill>
              </a:rPr>
              <a:t>задач</a:t>
            </a:r>
            <a:endParaRPr lang="ru-RU" sz="2400" dirty="0">
              <a:solidFill>
                <a:srgbClr val="336699"/>
              </a:solidFill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4319552" y="5949280"/>
            <a:ext cx="48244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003366"/>
                </a:solidFill>
                <a:cs typeface="+mn-cs"/>
              </a:rPr>
              <a:t>  </a:t>
            </a:r>
            <a:r>
              <a:rPr lang="ru-RU" sz="2400" dirty="0" smtClean="0">
                <a:solidFill>
                  <a:srgbClr val="336699"/>
                </a:solidFill>
              </a:rPr>
              <a:t>Вопросы</a:t>
            </a:r>
            <a:r>
              <a:rPr lang="ru-RU" sz="2400" dirty="0">
                <a:solidFill>
                  <a:srgbClr val="336699"/>
                </a:solidFill>
              </a:rPr>
              <a:t>, задания, </a:t>
            </a:r>
            <a:r>
              <a:rPr lang="ru-RU" sz="2400" dirty="0" smtClean="0">
                <a:solidFill>
                  <a:srgbClr val="336699"/>
                </a:solidFill>
              </a:rPr>
              <a:t>упражнения</a:t>
            </a:r>
            <a:endParaRPr lang="ru-RU" sz="2400" dirty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220613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0" y="548680"/>
            <a:ext cx="3969516" cy="5904656"/>
          </a:xfrm>
          <a:ln>
            <a:solidFill>
              <a:srgbClr val="005CAB"/>
            </a:solidFill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1556792"/>
            <a:ext cx="439198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336699"/>
                </a:solidFill>
              </a:rPr>
              <a:t>  </a:t>
            </a:r>
            <a:r>
              <a:rPr lang="ru-RU" sz="3200" dirty="0" smtClean="0">
                <a:solidFill>
                  <a:srgbClr val="002060"/>
                </a:solidFill>
              </a:rPr>
              <a:t>Указания </a:t>
            </a:r>
            <a:r>
              <a:rPr lang="ru-RU" sz="3200" dirty="0">
                <a:solidFill>
                  <a:srgbClr val="002060"/>
                </a:solidFill>
              </a:rPr>
              <a:t>к астрономическим </a:t>
            </a:r>
            <a:r>
              <a:rPr lang="ru-RU" sz="3200" dirty="0" smtClean="0">
                <a:solidFill>
                  <a:srgbClr val="002060"/>
                </a:solidFill>
              </a:rPr>
              <a:t>наблюдениям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22065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716016" y="404664"/>
            <a:ext cx="3888432" cy="6034122"/>
          </a:xfrm>
          <a:ln>
            <a:solidFill>
              <a:srgbClr val="005CAB"/>
            </a:solidFill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51520" y="1736812"/>
            <a:ext cx="432048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3200" dirty="0">
                <a:solidFill>
                  <a:srgbClr val="002060"/>
                </a:solidFill>
              </a:rPr>
              <a:t>Проектная </a:t>
            </a:r>
            <a:r>
              <a:rPr lang="ru-RU" sz="3200" dirty="0" smtClean="0">
                <a:solidFill>
                  <a:srgbClr val="002060"/>
                </a:solidFill>
              </a:rPr>
              <a:t>деятельность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4211959" y="404664"/>
            <a:ext cx="4695411" cy="597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51520" y="2060848"/>
            <a:ext cx="406794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3200" dirty="0" smtClean="0">
                <a:solidFill>
                  <a:srgbClr val="002060"/>
                </a:solidFill>
              </a:rPr>
              <a:t>Цветные иллюстрации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оответствие требований ФК ГОС к обязательному минимуму содержания основной образовательной программы по астрономии и содержания учебника</a:t>
            </a:r>
            <a:endParaRPr lang="ru-RU" dirty="0"/>
          </a:p>
        </p:txBody>
      </p:sp>
      <p:graphicFrame>
        <p:nvGraphicFramePr>
          <p:cNvPr id="3" name="Содержимое 2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925143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4114800"/>
                <a:gridCol w="4114800"/>
              </a:tblGrid>
              <a:tr h="771475"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Требования ФК ГОС</a:t>
                      </a:r>
                    </a:p>
                    <a:p>
                      <a:pPr algn="ctr"/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лава учебника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едмет астрономии</a:t>
                      </a:r>
                      <a:endParaRPr lang="ru-RU" sz="18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Основы практической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. Практические основы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аконы движения небесных тел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олнечная систем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  <a:p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4. Природа тел Солнечной систем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етоды астрономических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исследовани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Наша Галактика –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Млечный Путь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алактики. Строение и эволюция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69160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Солнечная система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Звезды и источники их энергии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Современные представления о происхождении и эволюции Солнца и звезд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Наша Галактика. Другие галактики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Пространственные масштабы наблюдаемой Вселенной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Применимость законов физики для объяснения природы космических объектов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Наблюдение и описание движения небесных тел.</a:t>
            </a: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"Красное смещение" в спектрах галактик</a:t>
            </a: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Современные взгляды на строение и эволюцию Вселенной.</a:t>
            </a:r>
          </a:p>
          <a:p>
            <a:r>
              <a:rPr lang="ru-RU" b="1" dirty="0" smtClean="0">
                <a:solidFill>
                  <a:srgbClr val="FF0000"/>
                </a:solidFill>
              </a:rPr>
              <a:t>Компьютерное моделирование движения небесных тел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3528" y="214290"/>
            <a:ext cx="8496944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Выдержка из требований ФК ГОС к обязательному минимуму содержания основной образовательной программе по физике (</a:t>
            </a:r>
            <a:r>
              <a:rPr lang="ru-RU" dirty="0" smtClean="0">
                <a:solidFill>
                  <a:srgbClr val="00B050"/>
                </a:solidFill>
              </a:rPr>
              <a:t>базовый</a:t>
            </a:r>
            <a:r>
              <a:rPr lang="ru-RU" dirty="0" smtClean="0"/>
              <a:t> и </a:t>
            </a:r>
            <a:r>
              <a:rPr lang="ru-RU" dirty="0" smtClean="0">
                <a:solidFill>
                  <a:srgbClr val="FF0000"/>
                </a:solidFill>
              </a:rPr>
              <a:t>профильный</a:t>
            </a:r>
            <a:r>
              <a:rPr lang="ru-RU" dirty="0" smtClean="0"/>
              <a:t> уровни)</a:t>
            </a:r>
            <a:endParaRPr lang="ru-RU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 idx="4294967295"/>
          </p:nvPr>
        </p:nvSpPr>
        <p:spPr>
          <a:xfrm>
            <a:off x="683568" y="692696"/>
            <a:ext cx="7772400" cy="1470025"/>
          </a:xfrm>
        </p:spPr>
        <p:txBody>
          <a:bodyPr>
            <a:normAutofit/>
          </a:bodyPr>
          <a:lstStyle/>
          <a:p>
            <a:pPr algn="ctr"/>
            <a:r>
              <a:rPr lang="ru-RU" sz="4000" dirty="0" smtClean="0">
                <a:solidFill>
                  <a:srgbClr val="005CAB"/>
                </a:solidFill>
              </a:rPr>
              <a:t>Сравним программы по физике и астрономии</a:t>
            </a:r>
            <a:endParaRPr lang="ru-RU" sz="4000" dirty="0">
              <a:solidFill>
                <a:srgbClr val="005CAB"/>
              </a:solidFill>
            </a:endParaRPr>
          </a:p>
        </p:txBody>
      </p:sp>
      <p:pic>
        <p:nvPicPr>
          <p:cNvPr id="6" name="Рисунок 5" descr="atom-e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536" y="3140968"/>
            <a:ext cx="2781856" cy="3140968"/>
          </a:xfrm>
          <a:prstGeom prst="rect">
            <a:avLst/>
          </a:prstGeom>
        </p:spPr>
      </p:pic>
      <p:pic>
        <p:nvPicPr>
          <p:cNvPr id="7" name="Picture 4" descr="https://im0-tub-ru.yandex.net/i?id=3c7912e523e07a876d67d097a10e5769&amp;n=33&amp;h=215&amp;w=26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20072" y="3284984"/>
            <a:ext cx="3783935" cy="3024336"/>
          </a:xfrm>
          <a:prstGeom prst="rect">
            <a:avLst/>
          </a:prstGeom>
          <a:noFill/>
        </p:spPr>
      </p:pic>
      <p:pic>
        <p:nvPicPr>
          <p:cNvPr id="1026" name="Picture 2" descr="http://irobotcenter.ru/images/4597108-3883924377-784b7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03848" y="4077072"/>
            <a:ext cx="2664296" cy="148391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астро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3608" y="0"/>
            <a:ext cx="6983564" cy="5157192"/>
          </a:xfrm>
          <a:prstGeom prst="rect">
            <a:avLst/>
          </a:prstGeom>
        </p:spPr>
      </p:pic>
      <p:sp>
        <p:nvSpPr>
          <p:cNvPr id="5" name="Заголовок 5"/>
          <p:cNvSpPr>
            <a:spLocks noGrp="1"/>
          </p:cNvSpPr>
          <p:nvPr>
            <p:ph type="title" idx="4294967295"/>
          </p:nvPr>
        </p:nvSpPr>
        <p:spPr>
          <a:xfrm>
            <a:off x="0" y="5733256"/>
            <a:ext cx="8748713" cy="576262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С 1 сентября 2017 года астрономия </a:t>
            </a:r>
            <a:br>
              <a:rPr lang="ru-RU" sz="2400" b="1" dirty="0" smtClean="0">
                <a:solidFill>
                  <a:srgbClr val="FF0000"/>
                </a:solidFill>
              </a:rPr>
            </a:br>
            <a:r>
              <a:rPr lang="ru-RU" sz="2400" b="1" dirty="0" smtClean="0">
                <a:solidFill>
                  <a:srgbClr val="FF0000"/>
                </a:solidFill>
              </a:rPr>
              <a:t>становится обязательным учебным предметом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03648" y="5085184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hlinkClick r:id="rId4"/>
              </a:rPr>
              <a:t>https://</a:t>
            </a:r>
            <a:r>
              <a:rPr lang="ru-RU" sz="2400" dirty="0" smtClean="0">
                <a:solidFill>
                  <a:schemeClr val="tx2"/>
                </a:solidFill>
                <a:hlinkClick r:id="rId4"/>
              </a:rPr>
              <a:t>www.youtube.com/watch?v=KVkBeffmNqk</a:t>
            </a:r>
            <a:r>
              <a:rPr lang="ru-RU" sz="2400" dirty="0" smtClean="0">
                <a:solidFill>
                  <a:schemeClr val="tx2"/>
                </a:solidFill>
              </a:rPr>
              <a:t> </a:t>
            </a:r>
            <a:endParaRPr lang="ru-RU" sz="2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Предмет астрономии</a:t>
            </a:r>
            <a:endParaRPr lang="ru-RU" dirty="0"/>
          </a:p>
        </p:txBody>
      </p:sp>
      <p:graphicFrame>
        <p:nvGraphicFramePr>
          <p:cNvPr id="15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606552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Роль астрономии в развити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цивилизац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Эволюция взглядов человека на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Вселенную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еоцентрическая и гелиоцентрическа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истем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Особенности методов познания в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актическое применение астрономических исследований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История развития отечествен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космонавт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ервый ИСЗ, полёт Ю.А.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агарин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Достижения современ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космонавт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6" name="Рисунок 15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1268760"/>
            <a:ext cx="509042" cy="509042"/>
          </a:xfrm>
          <a:prstGeom prst="rect">
            <a:avLst/>
          </a:prstGeom>
        </p:spPr>
      </p:pic>
      <p:pic>
        <p:nvPicPr>
          <p:cNvPr id="17" name="Рисунок 16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1988840"/>
            <a:ext cx="509042" cy="509042"/>
          </a:xfrm>
          <a:prstGeom prst="rect">
            <a:avLst/>
          </a:prstGeom>
        </p:spPr>
      </p:pic>
      <p:pic>
        <p:nvPicPr>
          <p:cNvPr id="18" name="Рисунок 17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3356992"/>
            <a:ext cx="509042" cy="509042"/>
          </a:xfrm>
          <a:prstGeom prst="rect">
            <a:avLst/>
          </a:prstGeom>
        </p:spPr>
      </p:pic>
      <p:pic>
        <p:nvPicPr>
          <p:cNvPr id="19" name="Рисунок 18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4077072"/>
            <a:ext cx="509042" cy="509042"/>
          </a:xfrm>
          <a:prstGeom prst="rect">
            <a:avLst/>
          </a:prstGeom>
        </p:spPr>
      </p:pic>
      <p:pic>
        <p:nvPicPr>
          <p:cNvPr id="20" name="Рисунок 1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6165304"/>
            <a:ext cx="509042" cy="509042"/>
          </a:xfrm>
          <a:prstGeom prst="rect">
            <a:avLst/>
          </a:prstGeom>
        </p:spPr>
      </p:pic>
      <p:pic>
        <p:nvPicPr>
          <p:cNvPr id="21" name="Рисунок 2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4797152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Основы практической астрономии</a:t>
            </a:r>
            <a:endParaRPr lang="ru-RU" dirty="0"/>
          </a:p>
        </p:txBody>
      </p:sp>
      <p:graphicFrame>
        <p:nvGraphicFramePr>
          <p:cNvPr id="16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6135624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Небесная сфера, особые точки небесной сферы, небесные координат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ная карта,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звезд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идимая звёздная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еличин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уточное движение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вети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вязь видимого расположения объектов на небе и географических координат наблюдател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Движение Земли вокруг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лнц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идимое движение и фазы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Лун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лнечные и лунные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атме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ремя и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алендар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7" name="Рисунок 16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1916832"/>
            <a:ext cx="509042" cy="509042"/>
          </a:xfrm>
          <a:prstGeom prst="rect">
            <a:avLst/>
          </a:prstGeom>
        </p:spPr>
      </p:pic>
      <p:pic>
        <p:nvPicPr>
          <p:cNvPr id="18" name="Рисунок 17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3861048"/>
            <a:ext cx="509042" cy="509042"/>
          </a:xfrm>
          <a:prstGeom prst="rect">
            <a:avLst/>
          </a:prstGeom>
        </p:spPr>
      </p:pic>
      <p:pic>
        <p:nvPicPr>
          <p:cNvPr id="19" name="Рисунок 18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80312" y="6348958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Законы движения небесных тел</a:t>
            </a:r>
            <a:endParaRPr lang="ru-RU" dirty="0"/>
          </a:p>
        </p:txBody>
      </p:sp>
      <p:graphicFrame>
        <p:nvGraphicFramePr>
          <p:cNvPr id="8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536448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труктура и масштабы Солнеч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истем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онфигурация и условия видимост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етоды определения расстояний до тел Солнечной системы и и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азмеров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Небесна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еханик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аконы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еплер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масс небесны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те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Движение искусственных небесны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те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Рисунок 8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2060848"/>
            <a:ext cx="509042" cy="509042"/>
          </a:xfrm>
          <a:prstGeom prst="rect">
            <a:avLst/>
          </a:prstGeom>
        </p:spPr>
      </p:pic>
      <p:pic>
        <p:nvPicPr>
          <p:cNvPr id="10" name="Рисунок 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2780928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Солнечная система</a:t>
            </a:r>
            <a:endParaRPr lang="ru-RU" dirty="0"/>
          </a:p>
        </p:txBody>
      </p:sp>
      <p:graphicFrame>
        <p:nvGraphicFramePr>
          <p:cNvPr id="9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536448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исхождение Солнеч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истем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истема Земля –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Лун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ы зем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групп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ы-гиган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путники и кольца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алые тела Солнеч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истем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Астероидна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опасност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Рисунок 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1340768"/>
            <a:ext cx="509042" cy="509042"/>
          </a:xfrm>
          <a:prstGeom prst="rect">
            <a:avLst/>
          </a:prstGeom>
        </p:spPr>
      </p:pic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5517232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Методы астрономических исследований</a:t>
            </a:r>
            <a:endParaRPr lang="ru-RU" dirty="0"/>
          </a:p>
        </p:txBody>
      </p:sp>
      <p:graphicFrame>
        <p:nvGraphicFramePr>
          <p:cNvPr id="8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606552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лектромагнитно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излучение, космические </a:t>
                      </a: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луч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и гравитационные волны как </a:t>
                      </a: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источник информации о природе и свойствах небесных те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Наземные и космические телескопы, принципы и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або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осмически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аппара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пектральны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анализ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ффект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Доплер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акон смещени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ин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акон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тефана-Больцман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Рисунок 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2564904"/>
            <a:ext cx="509042" cy="509042"/>
          </a:xfrm>
          <a:prstGeom prst="rect">
            <a:avLst/>
          </a:prstGeom>
        </p:spPr>
      </p:pic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3429000"/>
            <a:ext cx="509042" cy="509042"/>
          </a:xfrm>
          <a:prstGeom prst="rect">
            <a:avLst/>
          </a:prstGeom>
        </p:spPr>
      </p:pic>
      <p:pic>
        <p:nvPicPr>
          <p:cNvPr id="12" name="Рисунок 11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4797152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Звёзды</a:t>
            </a:r>
            <a:endParaRPr lang="ru-RU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531044" y="1268760"/>
          <a:ext cx="8229600" cy="5608320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6419056"/>
                <a:gridCol w="1810544"/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ы: основные физико-химические характеристики и их взаимная связ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азнообразие звёздных характеристик и их закономерност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расстояния до звёзд,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араллак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Двойные и крат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err="1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несолнечные</a:t>
                      </a: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блема существования жизни во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селенно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нутреннее строение и источники энерги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исхождение химически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лементо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Рисунок 4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24328" y="3429000"/>
            <a:ext cx="509042" cy="509042"/>
          </a:xfrm>
          <a:prstGeom prst="rect">
            <a:avLst/>
          </a:prstGeom>
        </p:spPr>
      </p:pic>
      <p:pic>
        <p:nvPicPr>
          <p:cNvPr id="6" name="Рисунок 5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24328" y="4149080"/>
            <a:ext cx="509042" cy="509042"/>
          </a:xfrm>
          <a:prstGeom prst="rect">
            <a:avLst/>
          </a:prstGeom>
        </p:spPr>
      </p:pic>
      <p:pic>
        <p:nvPicPr>
          <p:cNvPr id="7" name="Рисунок 6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24328" y="6348958"/>
            <a:ext cx="509042" cy="509042"/>
          </a:xfrm>
          <a:prstGeom prst="rect">
            <a:avLst/>
          </a:prstGeom>
        </p:spPr>
      </p:pic>
      <p:pic>
        <p:nvPicPr>
          <p:cNvPr id="8" name="Рисунок 7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24328" y="4869160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Звёзды</a:t>
            </a:r>
            <a:endParaRPr lang="ru-RU" dirty="0"/>
          </a:p>
        </p:txBody>
      </p:sp>
      <p:graphicFrame>
        <p:nvGraphicFramePr>
          <p:cNvPr id="10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606552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ы: основные физико-химические характеристики и их взаимная связ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азнообразие звёздных характеристик и их закономерност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Определение расстояния до звёзд,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араллак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Двойные и крат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err="1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несолнечные</a:t>
                      </a: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лане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блема существования жизни во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селенно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нутреннее строение и источники энерги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исхождение химически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лементо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3429000"/>
            <a:ext cx="509042" cy="509042"/>
          </a:xfrm>
          <a:prstGeom prst="rect">
            <a:avLst/>
          </a:prstGeom>
        </p:spPr>
      </p:pic>
      <p:pic>
        <p:nvPicPr>
          <p:cNvPr id="12" name="Рисунок 11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4149080"/>
            <a:ext cx="509042" cy="509042"/>
          </a:xfrm>
          <a:prstGeom prst="rect">
            <a:avLst/>
          </a:prstGeom>
        </p:spPr>
      </p:pic>
      <p:pic>
        <p:nvPicPr>
          <p:cNvPr id="13" name="Рисунок 12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6165304"/>
            <a:ext cx="509042" cy="509042"/>
          </a:xfrm>
          <a:prstGeom prst="rect">
            <a:avLst/>
          </a:prstGeom>
        </p:spPr>
      </p:pic>
      <p:pic>
        <p:nvPicPr>
          <p:cNvPr id="14" name="Рисунок 13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4869160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Звёзды</a:t>
            </a:r>
            <a:endParaRPr lang="ru-RU" dirty="0"/>
          </a:p>
        </p:txBody>
      </p:sp>
      <p:graphicFrame>
        <p:nvGraphicFramePr>
          <p:cNvPr id="10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5921502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еременные и вспыхивающи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оричнев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арл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волюция звёзд, её этапы и конеч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тад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троение Солнца, солнеч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атмосфер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оявления солнечной активности: пятна, вспышки, протуберанц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ериодичности солнечн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активност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оль магнитных полей на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лнце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лнечно-зем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вяз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1340768"/>
            <a:ext cx="509042" cy="509042"/>
          </a:xfrm>
          <a:prstGeom prst="rect">
            <a:avLst/>
          </a:prstGeom>
        </p:spPr>
      </p:pic>
      <p:pic>
        <p:nvPicPr>
          <p:cNvPr id="12" name="Рисунок 11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2060848"/>
            <a:ext cx="509042" cy="509042"/>
          </a:xfrm>
          <a:prstGeom prst="rect">
            <a:avLst/>
          </a:prstGeom>
        </p:spPr>
      </p:pic>
      <p:pic>
        <p:nvPicPr>
          <p:cNvPr id="13" name="Рисунок 12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5517232"/>
            <a:ext cx="509042" cy="509042"/>
          </a:xfrm>
          <a:prstGeom prst="rect">
            <a:avLst/>
          </a:prstGeom>
        </p:spPr>
      </p:pic>
      <p:pic>
        <p:nvPicPr>
          <p:cNvPr id="14" name="Рисунок 13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6165304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Наша Галактика – Млечный Путь</a:t>
            </a:r>
            <a:endParaRPr lang="ru-RU" dirty="0"/>
          </a:p>
        </p:txBody>
      </p:sp>
      <p:graphicFrame>
        <p:nvGraphicFramePr>
          <p:cNvPr id="9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3859530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остав и структура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Галакт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вёзд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копле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ежзвёздный газ и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ыл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ращени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Галакт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Тёмна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атер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Рисунок 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2060848"/>
            <a:ext cx="509042" cy="509042"/>
          </a:xfrm>
          <a:prstGeom prst="rect">
            <a:avLst/>
          </a:prstGeom>
        </p:spPr>
      </p:pic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08304" y="4149080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pPr algn="ctr"/>
            <a:r>
              <a:rPr lang="ru-RU" dirty="0" smtClean="0"/>
              <a:t>Галактики. Строение и эволюция Вселенной</a:t>
            </a:r>
            <a:endParaRPr lang="ru-RU" dirty="0"/>
          </a:p>
        </p:txBody>
      </p:sp>
      <p:graphicFrame>
        <p:nvGraphicFramePr>
          <p:cNvPr id="9" name="Содержимое 14"/>
          <p:cNvGraphicFramePr>
            <a:graphicFrameLocks noGrp="1"/>
          </p:cNvGraphicFramePr>
          <p:nvPr>
            <p:ph idx="1"/>
          </p:nvPr>
        </p:nvGraphicFramePr>
        <p:xfrm>
          <a:off x="467544" y="836712"/>
          <a:ext cx="8229600" cy="5983224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5832648"/>
                <a:gridCol w="239695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Физика</a:t>
                      </a:r>
                      <a:endParaRPr lang="ru-RU" sz="24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Открытие других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галактик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Многообразие галактик и их основны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характеристик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верхмассивные чёрные дыры и активность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галактик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Представление о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осмолог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Красно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смещение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Закон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Хаббл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волюци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селенно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Большой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Взры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Реликтовое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излучение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Тёмная </a:t>
                      </a: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энерг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Рисунок 9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36296" y="1268760"/>
            <a:ext cx="509042" cy="509042"/>
          </a:xfrm>
          <a:prstGeom prst="rect">
            <a:avLst/>
          </a:prstGeom>
        </p:spPr>
      </p:pic>
      <p:pic>
        <p:nvPicPr>
          <p:cNvPr id="11" name="Рисунок 10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64288" y="5805264"/>
            <a:ext cx="509042" cy="509042"/>
          </a:xfrm>
          <a:prstGeom prst="rect">
            <a:avLst/>
          </a:prstGeom>
        </p:spPr>
      </p:pic>
      <p:pic>
        <p:nvPicPr>
          <p:cNvPr id="12" name="Рисунок 11" descr="b4de7f2abe0527e37ed42f6041106fd4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64288" y="6348958"/>
            <a:ext cx="509042" cy="509042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Нормативные документы</a:t>
            </a:r>
            <a:endParaRPr lang="ru-RU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51520" y="1600200"/>
          <a:ext cx="8640960" cy="506916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8640960"/>
              </a:tblGrid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b="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506 от 7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 внесении изменений в ФК ГОС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253 от 31.03.2014 (редакция от 20.06.2017 г)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б утверждении федерального перечня учебников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исьмо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ТС194</a:t>
                      </a:r>
                      <a:r>
                        <a:rPr lang="en-US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/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08 от 20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б организации изучения учебного предмета «Астрономия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Вебинар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(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, РАО, АПКППРО) от 26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рганизационные вопросы внедрения дисциплины «Астрономия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613 от 29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 внесении изменений в ФГОС СОО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000" dirty="0" smtClean="0"/>
              <a:t>Соответствие учебника требованиям ФГОС</a:t>
            </a:r>
            <a:endParaRPr lang="ru-RU" sz="4000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Личностные результаты.</a:t>
            </a:r>
            <a:br>
              <a:rPr lang="ru-RU" dirty="0" smtClean="0"/>
            </a:br>
            <a:r>
              <a:rPr lang="ru-RU" dirty="0" smtClean="0"/>
              <a:t>Навыки учебно-исследовательской, проектной деятельности 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3077" name="Picture 5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622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3078" name="Picture 6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9991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2" name="Скругленный прямоугольник 6"/>
          <p:cNvSpPr/>
          <p:nvPr/>
        </p:nvSpPr>
        <p:spPr bwMode="auto">
          <a:xfrm>
            <a:off x="4932040" y="3140968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Личнос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Формирование мышления, соответствующего современному развитию науки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101" name="Picture 5"/>
          <p:cNvPicPr>
            <a:picLocks noGrp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99992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4102" name="Picture 6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87624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20" name="Скругленный прямоугольник 6"/>
          <p:cNvSpPr/>
          <p:nvPr/>
        </p:nvSpPr>
        <p:spPr bwMode="auto">
          <a:xfrm>
            <a:off x="1259632" y="2348880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err="1" smtClean="0"/>
              <a:t>Метапредметные</a:t>
            </a:r>
            <a:r>
              <a:rPr lang="ru-RU" dirty="0" smtClean="0"/>
              <a:t>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err="1" smtClean="0"/>
              <a:t>Межпредметные</a:t>
            </a:r>
            <a:r>
              <a:rPr lang="ru-RU" dirty="0" smtClean="0"/>
              <a:t> понятия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5122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5123" name="Picture 3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2" name="Скругленный прямоугольник 6"/>
          <p:cNvSpPr/>
          <p:nvPr/>
        </p:nvSpPr>
        <p:spPr bwMode="auto">
          <a:xfrm>
            <a:off x="1547664" y="177281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6"/>
          <p:cNvSpPr/>
          <p:nvPr/>
        </p:nvSpPr>
        <p:spPr bwMode="auto">
          <a:xfrm>
            <a:off x="5436096" y="321297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dirty="0" err="1" smtClean="0"/>
              <a:t>Метапредметные</a:t>
            </a:r>
            <a:r>
              <a:rPr lang="ru-RU" dirty="0" smtClean="0"/>
              <a:t>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Регулятивные УУД</a:t>
            </a:r>
            <a:endParaRPr lang="ru-RU" dirty="0"/>
          </a:p>
        </p:txBody>
      </p:sp>
      <p:pic>
        <p:nvPicPr>
          <p:cNvPr id="6146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6147" name="Picture 3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4499992" y="1988840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dirty="0" err="1" smtClean="0"/>
              <a:t>Метапредметные</a:t>
            </a:r>
            <a:r>
              <a:rPr lang="ru-RU" dirty="0" smtClean="0"/>
              <a:t>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Коммуникативные УУД</a:t>
            </a:r>
            <a:endParaRPr lang="ru-RU" dirty="0"/>
          </a:p>
        </p:txBody>
      </p:sp>
      <p:pic>
        <p:nvPicPr>
          <p:cNvPr id="7170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3" name="Скругленный прямоугольник 6"/>
          <p:cNvSpPr/>
          <p:nvPr/>
        </p:nvSpPr>
        <p:spPr bwMode="auto">
          <a:xfrm>
            <a:off x="1331640" y="2132856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15" name="Picture 2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6" name="Скругленный прямоугольник 6"/>
          <p:cNvSpPr/>
          <p:nvPr/>
        </p:nvSpPr>
        <p:spPr bwMode="auto">
          <a:xfrm>
            <a:off x="5220072" y="3717032"/>
            <a:ext cx="2736304" cy="1152128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dirty="0" err="1" smtClean="0"/>
              <a:t>Метапредметные</a:t>
            </a:r>
            <a:r>
              <a:rPr lang="ru-RU" dirty="0" smtClean="0"/>
              <a:t>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Познавательные УУД</a:t>
            </a:r>
            <a:endParaRPr lang="ru-RU" dirty="0"/>
          </a:p>
        </p:txBody>
      </p:sp>
      <p:pic>
        <p:nvPicPr>
          <p:cNvPr id="8194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7119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12" name="Picture 2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4" name="Скругленный прямоугольник 6"/>
          <p:cNvSpPr/>
          <p:nvPr/>
        </p:nvSpPr>
        <p:spPr bwMode="auto">
          <a:xfrm>
            <a:off x="1907704" y="3356992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Скругленный прямоугольник 6"/>
          <p:cNvSpPr/>
          <p:nvPr/>
        </p:nvSpPr>
        <p:spPr bwMode="auto">
          <a:xfrm>
            <a:off x="5292080" y="4077072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Предме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err="1" smtClean="0"/>
              <a:t>Сформированность</a:t>
            </a:r>
            <a:r>
              <a:rPr lang="ru-RU" dirty="0" smtClean="0"/>
              <a:t> представлений о строении Солнечной системы</a:t>
            </a:r>
            <a:endParaRPr lang="ru-RU" dirty="0"/>
          </a:p>
        </p:txBody>
      </p:sp>
      <p:pic>
        <p:nvPicPr>
          <p:cNvPr id="1026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7534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1027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1115616" y="1484784"/>
            <a:ext cx="2808312" cy="72008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Предме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err="1" smtClean="0"/>
              <a:t>Сформированность</a:t>
            </a:r>
            <a:r>
              <a:rPr lang="ru-RU" dirty="0" smtClean="0"/>
              <a:t> представлений об эволюции звёзд и Вселенной</a:t>
            </a:r>
            <a:endParaRPr lang="ru-RU" dirty="0"/>
          </a:p>
        </p:txBody>
      </p:sp>
      <p:pic>
        <p:nvPicPr>
          <p:cNvPr id="2050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Скругленный прямоугольник 6"/>
          <p:cNvSpPr/>
          <p:nvPr/>
        </p:nvSpPr>
        <p:spPr bwMode="auto">
          <a:xfrm>
            <a:off x="5292080" y="1484784"/>
            <a:ext cx="2664296" cy="93610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30721" name="Picture 1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1340768"/>
            <a:ext cx="3312368" cy="4824536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1115616" y="1412776"/>
            <a:ext cx="2664296" cy="93610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Предме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err="1" smtClean="0"/>
              <a:t>Сформированность</a:t>
            </a:r>
            <a:r>
              <a:rPr lang="ru-RU" dirty="0" smtClean="0"/>
              <a:t> представлений пространственно-временных масштабах Вселенной</a:t>
            </a:r>
            <a:endParaRPr lang="ru-RU" dirty="0"/>
          </a:p>
        </p:txBody>
      </p:sp>
      <p:pic>
        <p:nvPicPr>
          <p:cNvPr id="3074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3648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3075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601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Скругленный прямоугольник 6"/>
          <p:cNvSpPr/>
          <p:nvPr/>
        </p:nvSpPr>
        <p:spPr bwMode="auto">
          <a:xfrm>
            <a:off x="1835696" y="501317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Основные положения</a:t>
            </a:r>
            <a:endParaRPr lang="ru-RU" dirty="0"/>
          </a:p>
        </p:txBody>
      </p:sp>
      <p:graphicFrame>
        <p:nvGraphicFramePr>
          <p:cNvPr id="9" name="Содержимое 3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5073038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229600"/>
              </a:tblGrid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 – обязательный учебный предмет для старшеклассников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Начало преподавания астрономии – 2017 либо 2018 г по мере готовности школ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20898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о усмотрению школы преподавание астрономии возможно: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 11 классе весь год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 11 классе одно полугодие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по пол года в 10 и 11 классах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Школы самостоятельно перераспределяют часы учебного плана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для преподавания астрономии без ущерба для других предметов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ческая составляющая в курсе физики остаётся в прежнем объём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 2019 г –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задания по астрономии будут включены в КИМ ЕГЭ по физик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64195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чителям, которые будут преподавать астрономию, рекомендуется пройти курсы повышения квалификац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Предме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Владение основополагающими астрономическими понятиями, теориями, законами и закономерностями</a:t>
            </a:r>
            <a:endParaRPr lang="ru-RU" dirty="0"/>
          </a:p>
        </p:txBody>
      </p:sp>
      <p:pic>
        <p:nvPicPr>
          <p:cNvPr id="4098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1825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4099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5580112" y="3717032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6"/>
          <p:cNvSpPr/>
          <p:nvPr/>
        </p:nvSpPr>
        <p:spPr bwMode="auto">
          <a:xfrm>
            <a:off x="1043608" y="3789040"/>
            <a:ext cx="2880320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4290"/>
            <a:ext cx="8568952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dirty="0" smtClean="0"/>
              <a:t>Предметные результаты.</a:t>
            </a:r>
            <a:br>
              <a:rPr lang="ru-RU" dirty="0" smtClean="0"/>
            </a:b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/>
              <a:t>Осознание роли отечественной науки в освоении и использовании космического пространства</a:t>
            </a:r>
            <a:endParaRPr lang="ru-RU" dirty="0"/>
          </a:p>
        </p:txBody>
      </p:sp>
      <p:pic>
        <p:nvPicPr>
          <p:cNvPr id="5122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59632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5123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3" name="Скругленный прямоугольник 6"/>
          <p:cNvSpPr/>
          <p:nvPr/>
        </p:nvSpPr>
        <p:spPr bwMode="auto">
          <a:xfrm>
            <a:off x="1619672" y="4365104"/>
            <a:ext cx="2880320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/>
          </a:bodyPr>
          <a:lstStyle/>
          <a:p>
            <a:pPr algn="ctr"/>
            <a:r>
              <a:rPr lang="ru-RU" sz="3200" dirty="0" smtClean="0"/>
              <a:t>Методическое пособие</a:t>
            </a:r>
            <a:endParaRPr lang="ru-RU" sz="3200" dirty="0"/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268760"/>
            <a:ext cx="4038600" cy="475252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6056" y="1268760"/>
            <a:ext cx="3528392" cy="475252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600" dirty="0" smtClean="0"/>
              <a:t>Структура </a:t>
            </a:r>
            <a:br>
              <a:rPr lang="ru-RU" sz="3600" dirty="0" smtClean="0"/>
            </a:br>
            <a:r>
              <a:rPr lang="ru-RU" sz="3600" dirty="0" smtClean="0"/>
              <a:t>методического пособия</a:t>
            </a:r>
            <a:endParaRPr lang="ru-RU" sz="3600" dirty="0"/>
          </a:p>
        </p:txBody>
      </p:sp>
      <p:pic>
        <p:nvPicPr>
          <p:cNvPr id="6" name="Содержимое 5"/>
          <p:cNvPicPr>
            <a:picLocks noGrp="1"/>
          </p:cNvPicPr>
          <p:nvPr>
            <p:ph idx="4294967295"/>
          </p:nvPr>
        </p:nvPicPr>
        <p:blipFill>
          <a:blip r:embed="rId2" cstate="print"/>
          <a:srcRect l="33511" t="50194" r="31188" b="15233"/>
          <a:stretch>
            <a:fillRect/>
          </a:stretch>
        </p:blipFill>
        <p:spPr bwMode="auto">
          <a:xfrm>
            <a:off x="4644008" y="2420888"/>
            <a:ext cx="4248472" cy="259228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07504" y="1785007"/>
            <a:ext cx="4356484" cy="3231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336699"/>
                </a:solidFill>
              </a:rPr>
              <a:t>Подробные рекомендации к каждому уроку.</a:t>
            </a: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336699"/>
                </a:solidFill>
              </a:rPr>
              <a:t>  Дидактические единицы урока.</a:t>
            </a: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endParaRPr lang="ru-RU" sz="2400" dirty="0" smtClean="0">
              <a:solidFill>
                <a:srgbClr val="336699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dirty="0" smtClean="0">
                <a:solidFill>
                  <a:srgbClr val="005CAB"/>
                </a:solidFill>
              </a:rPr>
              <a:t>  </a:t>
            </a:r>
            <a:r>
              <a:rPr lang="ru-RU" sz="2400" b="1" dirty="0" smtClean="0">
                <a:solidFill>
                  <a:srgbClr val="005CAB"/>
                </a:solidFill>
              </a:rPr>
              <a:t>Цели урока    </a:t>
            </a:r>
            <a:r>
              <a:rPr lang="ru-RU" sz="2400" dirty="0" smtClean="0">
                <a:solidFill>
                  <a:srgbClr val="005CAB"/>
                </a:solidFill>
              </a:rPr>
              <a:t>(личностные,   </a:t>
            </a:r>
            <a:r>
              <a:rPr lang="ru-RU" sz="2400" dirty="0" err="1" smtClean="0">
                <a:solidFill>
                  <a:srgbClr val="005CAB"/>
                </a:solidFill>
              </a:rPr>
              <a:t>метапредметные</a:t>
            </a:r>
            <a:r>
              <a:rPr lang="ru-RU" sz="2400" dirty="0" smtClean="0">
                <a:solidFill>
                  <a:srgbClr val="005CAB"/>
                </a:solidFill>
              </a:rPr>
              <a:t>, предметные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7680" t="16144" r="35993" b="11079"/>
          <a:stretch>
            <a:fillRect/>
          </a:stretch>
        </p:blipFill>
        <p:spPr bwMode="auto">
          <a:xfrm>
            <a:off x="4535996" y="440668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Text Box 8"/>
          <p:cNvSpPr txBox="1">
            <a:spLocks noGrp="1" noChangeArrowheads="1"/>
          </p:cNvSpPr>
          <p:nvPr>
            <p:ph type="body" sz="half" idx="4294967295"/>
          </p:nvPr>
        </p:nvSpPr>
        <p:spPr bwMode="auto">
          <a:xfrm>
            <a:off x="179512" y="1196752"/>
            <a:ext cx="417671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  </a:t>
            </a:r>
            <a:r>
              <a:rPr lang="ru-RU" sz="3200" dirty="0" smtClean="0">
                <a:solidFill>
                  <a:srgbClr val="002060"/>
                </a:solidFill>
              </a:rPr>
              <a:t>Основной материал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endParaRPr lang="ru-RU" sz="32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Методические </a:t>
            </a:r>
            <a:r>
              <a:rPr lang="ru-RU" sz="3200" dirty="0">
                <a:solidFill>
                  <a:srgbClr val="002060"/>
                </a:solidFill>
              </a:rPr>
              <a:t>акценты </a:t>
            </a:r>
            <a:r>
              <a:rPr lang="ru-RU" sz="3200" dirty="0" smtClean="0">
                <a:solidFill>
                  <a:srgbClr val="002060"/>
                </a:solidFill>
              </a:rPr>
              <a:t>урока     </a:t>
            </a:r>
          </a:p>
        </p:txBody>
      </p:sp>
      <p:sp>
        <p:nvSpPr>
          <p:cNvPr id="8" name="Овал 7"/>
          <p:cNvSpPr/>
          <p:nvPr/>
        </p:nvSpPr>
        <p:spPr>
          <a:xfrm>
            <a:off x="4716016" y="1268760"/>
            <a:ext cx="1692188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4724400" y="1880828"/>
            <a:ext cx="2367880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752020" y="764704"/>
            <a:ext cx="118813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7039" t="17692" r="35703" b="10000"/>
          <a:stretch>
            <a:fillRect/>
          </a:stretch>
        </p:blipFill>
        <p:spPr bwMode="auto">
          <a:xfrm>
            <a:off x="4644448" y="440668"/>
            <a:ext cx="3960000" cy="5724636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1772816"/>
            <a:ext cx="424847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  <a:cs typeface="+mn-cs"/>
              </a:rPr>
              <a:t>   </a:t>
            </a:r>
            <a:r>
              <a:rPr lang="ru-RU" sz="3200" dirty="0" smtClean="0">
                <a:solidFill>
                  <a:srgbClr val="002060"/>
                </a:solidFill>
              </a:rPr>
              <a:t>Домашнее задание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860032" y="2816932"/>
            <a:ext cx="1584176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Содержимое 5"/>
          <p:cNvPicPr>
            <a:picLocks/>
          </p:cNvPicPr>
          <p:nvPr/>
        </p:nvPicPr>
        <p:blipFill>
          <a:blip r:embed="rId2" cstate="print"/>
          <a:srcRect l="37680" t="17179" r="36024" b="11026"/>
          <a:stretch>
            <a:fillRect/>
          </a:stretch>
        </p:blipFill>
        <p:spPr bwMode="auto">
          <a:xfrm>
            <a:off x="4680452" y="332656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23528" y="1772816"/>
            <a:ext cx="3779912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Темы проектов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endParaRPr lang="ru-RU" sz="32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Интернет-ресурсы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4860032" y="908720"/>
            <a:ext cx="1404156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4860032" y="1556792"/>
            <a:ext cx="1512168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8482" t="16923" r="35382" b="11026"/>
          <a:stretch>
            <a:fillRect/>
          </a:stretch>
        </p:blipFill>
        <p:spPr bwMode="auto">
          <a:xfrm>
            <a:off x="4716016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79512" y="1844824"/>
            <a:ext cx="442798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Комментарии для учителя к решению задания</a:t>
            </a:r>
            <a:endParaRPr lang="ru-RU" sz="3200" b="1" dirty="0">
              <a:solidFill>
                <a:srgbClr val="00206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 flipV="1">
            <a:off x="4824028" y="2060848"/>
            <a:ext cx="3708412" cy="39604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2710" t="13077" r="31374" b="4103"/>
          <a:stretch>
            <a:fillRect/>
          </a:stretch>
        </p:blipFill>
        <p:spPr bwMode="auto">
          <a:xfrm>
            <a:off x="4716016" y="476672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395536" y="1916832"/>
            <a:ext cx="370841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Задачи для подготовки к ЕГЭ по физике</a:t>
            </a:r>
          </a:p>
        </p:txBody>
      </p:sp>
      <p:sp>
        <p:nvSpPr>
          <p:cNvPr id="9" name="Овал 8"/>
          <p:cNvSpPr/>
          <p:nvPr/>
        </p:nvSpPr>
        <p:spPr>
          <a:xfrm>
            <a:off x="4895596" y="3573016"/>
            <a:ext cx="3096344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8161" t="17179" r="35863" b="11539"/>
          <a:stretch>
            <a:fillRect/>
          </a:stretch>
        </p:blipFill>
        <p:spPr bwMode="auto">
          <a:xfrm>
            <a:off x="4716016" y="476672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2060848"/>
            <a:ext cx="413995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Проверочные и практические работы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56076" y="2024844"/>
            <a:ext cx="3096344" cy="54006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исьмо </a:t>
            </a:r>
            <a:r>
              <a:rPr lang="ru-RU" dirty="0" err="1" smtClean="0"/>
              <a:t>Минобрнауки</a:t>
            </a:r>
            <a:r>
              <a:rPr lang="ru-RU" dirty="0" smtClean="0"/>
              <a:t> №ТС194</a:t>
            </a:r>
            <a:r>
              <a:rPr lang="en-US" dirty="0" smtClean="0"/>
              <a:t>/</a:t>
            </a:r>
            <a:r>
              <a:rPr lang="ru-RU" dirty="0" smtClean="0"/>
              <a:t>08 от 20.06.2017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862720"/>
            <a:ext cx="8229600" cy="400092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5" name="Скругленный прямоугольник 6"/>
          <p:cNvSpPr/>
          <p:nvPr/>
        </p:nvSpPr>
        <p:spPr bwMode="auto">
          <a:xfrm>
            <a:off x="611560" y="1916832"/>
            <a:ext cx="7920880" cy="64807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6718" t="13590" r="33939" b="6923"/>
          <a:stretch>
            <a:fillRect/>
          </a:stretch>
        </p:blipFill>
        <p:spPr bwMode="auto">
          <a:xfrm>
            <a:off x="4499992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179512" y="2132856"/>
            <a:ext cx="428447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  </a:t>
            </a:r>
            <a:r>
              <a:rPr lang="ru-RU" sz="3200" dirty="0" smtClean="0">
                <a:solidFill>
                  <a:srgbClr val="005CAB"/>
                </a:solidFill>
              </a:rPr>
              <a:t>Контрольные работы</a:t>
            </a:r>
          </a:p>
        </p:txBody>
      </p:sp>
      <p:sp>
        <p:nvSpPr>
          <p:cNvPr id="8" name="Овал 7"/>
          <p:cNvSpPr/>
          <p:nvPr/>
        </p:nvSpPr>
        <p:spPr>
          <a:xfrm>
            <a:off x="5363648" y="2780928"/>
            <a:ext cx="2160240" cy="6120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4490" t="8219" r="5099" b="5205"/>
          <a:stretch>
            <a:fillRect/>
          </a:stretch>
        </p:blipFill>
        <p:spPr>
          <a:xfrm>
            <a:off x="0" y="980728"/>
            <a:ext cx="9000000" cy="5040000"/>
          </a:xfrm>
          <a:prstGeom prst="rect">
            <a:avLst/>
          </a:prstGeom>
          <a:ln>
            <a:noFill/>
          </a:ln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055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490" t="7733" r="5253" b="4800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411760" y="6165304"/>
            <a:ext cx="48965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Интерактивное оглавление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3464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335" t="7671" r="5408" b="4932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915816" y="6237312"/>
            <a:ext cx="34563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Контекстный поиск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0972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025" t="7671" r="5099" b="4384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907704" y="6165304"/>
            <a:ext cx="57606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Возможность увеличения иллюстраций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5655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l="3716" t="6575" r="6027" b="4932"/>
          <a:stretch>
            <a:fillRect/>
          </a:stretch>
        </p:blipFill>
        <p:spPr>
          <a:xfrm>
            <a:off x="0" y="1211759"/>
            <a:ext cx="9000000" cy="5040000"/>
          </a:xfrm>
          <a:prstGeom prst="rect">
            <a:avLst/>
          </a:prstGeom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779912" y="6396335"/>
            <a:ext cx="2448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Задания</a:t>
            </a:r>
          </a:p>
        </p:txBody>
      </p:sp>
    </p:spTree>
    <p:extLst>
      <p:ext uri="{BB962C8B-B14F-4D97-AF65-F5344CB8AC3E}">
        <p14:creationId xmlns="" xmlns:p14="http://schemas.microsoft.com/office/powerpoint/2010/main" val="155792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180" t="7671" r="5408" b="5753"/>
          <a:stretch>
            <a:fillRect/>
          </a:stretch>
        </p:blipFill>
        <p:spPr>
          <a:xfrm>
            <a:off x="0" y="1196752"/>
            <a:ext cx="9000000" cy="504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563888" y="6396335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Анимации</a:t>
            </a:r>
          </a:p>
        </p:txBody>
      </p:sp>
    </p:spTree>
    <p:extLst>
      <p:ext uri="{BB962C8B-B14F-4D97-AF65-F5344CB8AC3E}">
        <p14:creationId xmlns="" xmlns:p14="http://schemas.microsoft.com/office/powerpoint/2010/main" val="328551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1024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951229" y="1600200"/>
            <a:ext cx="7241541" cy="45259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4067944" y="5517232"/>
            <a:ext cx="172819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Тесты</a:t>
            </a:r>
          </a:p>
        </p:txBody>
      </p:sp>
    </p:spTree>
    <p:extLst>
      <p:ext uri="{BB962C8B-B14F-4D97-AF65-F5344CB8AC3E}">
        <p14:creationId xmlns="" xmlns:p14="http://schemas.microsoft.com/office/powerpoint/2010/main" val="4227287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t="5966" b="4830"/>
          <a:stretch>
            <a:fillRect/>
          </a:stretch>
        </p:blipFill>
        <p:spPr>
          <a:xfrm>
            <a:off x="0" y="1196752"/>
            <a:ext cx="9000000" cy="50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275856" y="6237312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Слайд – шоу</a:t>
            </a:r>
          </a:p>
        </p:txBody>
      </p:sp>
    </p:spTree>
    <p:extLst>
      <p:ext uri="{BB962C8B-B14F-4D97-AF65-F5344CB8AC3E}">
        <p14:creationId xmlns="" xmlns:p14="http://schemas.microsoft.com/office/powerpoint/2010/main" val="39504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542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951229" y="1600200"/>
            <a:ext cx="7241541" cy="45259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899592" y="6093296"/>
            <a:ext cx="75608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Перечень электронных  образовательных ресур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5867_big.jpg"/>
          <p:cNvPicPr>
            <a:picLocks noGrp="1" noChangeAspect="1"/>
          </p:cNvPicPr>
          <p:nvPr>
            <p:ph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5148064" y="980728"/>
            <a:ext cx="3779837" cy="5676900"/>
          </a:xfrm>
          <a:ln>
            <a:solidFill>
              <a:srgbClr val="005CAB"/>
            </a:solidFill>
          </a:ln>
        </p:spPr>
      </p:pic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179512" y="0"/>
            <a:ext cx="5184576" cy="1988840"/>
          </a:xfrm>
          <a:prstGeom prst="horizontalScroll">
            <a:avLst>
              <a:gd name="adj" fmla="val 12500"/>
            </a:avLst>
          </a:prstGeom>
          <a:solidFill>
            <a:srgbClr val="FFFF99"/>
          </a:solidFill>
          <a:ln w="9525">
            <a:solidFill>
              <a:srgbClr val="800000"/>
            </a:solidFill>
            <a:round/>
            <a:headEnd/>
            <a:tailEnd/>
          </a:ln>
          <a:effectLst>
            <a:outerShdw dist="35921" dir="2700000" algn="ctr" rotWithShape="0">
              <a:srgbClr val="5F5F5F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Учебник   рекомендован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Министерством</a:t>
            </a:r>
            <a:br>
              <a:rPr lang="ru-RU" sz="1700" b="1" dirty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  образования и науки  РФ  и  </a:t>
            </a: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включен  в  </a:t>
            </a:r>
            <a:b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Федеральный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перечень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51520" y="2060848"/>
            <a:ext cx="475252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Единственный учебник по астрономии,  который неизменно входит в федеральный перечень (номер в действующем ФП 2.3.2.4.1.1)</a:t>
            </a: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Полностью соответствует новым требованиям ФГОС и ФК ГОС</a:t>
            </a: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Учебник классический по структуре, современный по содержанию</a:t>
            </a:r>
            <a:endParaRPr lang="ru-RU" sz="2400" b="1" dirty="0" smtClean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827584" y="4221088"/>
            <a:ext cx="756084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5CAB"/>
                </a:solidFill>
              </a:rPr>
              <a:t>Классная рабо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457200" y="1960241"/>
            <a:ext cx="8229600" cy="1612776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en-US" sz="5400" dirty="0" smtClean="0">
                <a:hlinkClick r:id="rId2"/>
              </a:rPr>
              <a:t>https://lecta.ru/</a:t>
            </a:r>
            <a:endParaRPr lang="ru-RU" sz="5400" dirty="0" smtClean="0"/>
          </a:p>
          <a:p>
            <a:endParaRPr lang="ru-RU" dirty="0" smtClean="0"/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827584" y="5085184"/>
            <a:ext cx="756084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5CAB"/>
                </a:solidFill>
              </a:rPr>
              <a:t>Контроль</a:t>
            </a: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043608" y="3429000"/>
            <a:ext cx="756084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5CAB"/>
                </a:solidFill>
              </a:rPr>
              <a:t>Электронные формы учебник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79512" y="2852936"/>
            <a:ext cx="8784976" cy="1116124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Методическая служба по физике :</a:t>
            </a:r>
          </a:p>
        </p:txBody>
      </p:sp>
      <p:sp>
        <p:nvSpPr>
          <p:cNvPr id="12" name="Подзаголовок 5"/>
          <p:cNvSpPr txBox="1">
            <a:spLocks/>
          </p:cNvSpPr>
          <p:nvPr/>
        </p:nvSpPr>
        <p:spPr>
          <a:xfrm>
            <a:off x="0" y="3653644"/>
            <a:ext cx="9144000" cy="320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</a:pPr>
            <a:r>
              <a:rPr lang="ru-RU" sz="2200" b="1" dirty="0" err="1" smtClean="0">
                <a:solidFill>
                  <a:schemeClr val="bg1"/>
                </a:solidFill>
              </a:rPr>
              <a:t>Опаловский</a:t>
            </a:r>
            <a:r>
              <a:rPr lang="ru-RU" sz="2200" b="1" dirty="0" smtClean="0">
                <a:solidFill>
                  <a:schemeClr val="bg1"/>
                </a:solidFill>
              </a:rPr>
              <a:t> Владимир Александрович              Долгих Елена Николаевна</a:t>
            </a:r>
            <a:endParaRPr kumimoji="0" lang="ru-RU" sz="2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 algn="ctr">
              <a:spcBef>
                <a:spcPct val="20000"/>
              </a:spcBef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 algn="ctr">
              <a:spcBef>
                <a:spcPct val="20000"/>
              </a:spcBef>
            </a:pPr>
            <a:r>
              <a:rPr lang="en-US" sz="2400" b="1" u="sng" dirty="0" smtClean="0">
                <a:solidFill>
                  <a:srgbClr val="ED1064"/>
                </a:solidFill>
              </a:rPr>
              <a:t>Opalovskiy.VA@rosuchebnik.ru</a:t>
            </a:r>
            <a:r>
              <a:rPr lang="en-US" sz="2400" b="1" dirty="0" smtClean="0">
                <a:solidFill>
                  <a:srgbClr val="ED1064"/>
                </a:solidFill>
              </a:rPr>
              <a:t>                    </a:t>
            </a:r>
            <a:r>
              <a:rPr lang="en-US" sz="2400" b="1" u="sng" dirty="0" smtClean="0">
                <a:solidFill>
                  <a:srgbClr val="ED1064"/>
                </a:solidFill>
              </a:rPr>
              <a:t>Dolgih.EN@rosuchebnik.ru</a:t>
            </a:r>
          </a:p>
          <a:p>
            <a:pPr>
              <a:spcBef>
                <a:spcPct val="20000"/>
              </a:spcBef>
            </a:pPr>
            <a:endParaRPr lang="en-US" sz="2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spcBef>
                <a:spcPct val="20000"/>
              </a:spcBef>
            </a:pPr>
            <a:r>
              <a:rPr lang="ru-RU" sz="2400" dirty="0" smtClean="0">
                <a:solidFill>
                  <a:schemeClr val="bg1"/>
                </a:solidFill>
              </a:rPr>
              <a:t>Тел.: 8-800-2000-550, </a:t>
            </a:r>
            <a:r>
              <a:rPr lang="ru-RU" sz="2400" dirty="0" err="1" smtClean="0">
                <a:solidFill>
                  <a:schemeClr val="bg1"/>
                </a:solidFill>
              </a:rPr>
              <a:t>доб</a:t>
            </a:r>
            <a:r>
              <a:rPr lang="ru-RU" sz="2400" dirty="0" smtClean="0">
                <a:solidFill>
                  <a:schemeClr val="bg1"/>
                </a:solidFill>
              </a:rPr>
              <a:t>. 28-46    Тел.: 8-800-2000-550, </a:t>
            </a:r>
            <a:r>
              <a:rPr lang="ru-RU" sz="2400" dirty="0" err="1" smtClean="0">
                <a:solidFill>
                  <a:schemeClr val="bg1"/>
                </a:solidFill>
              </a:rPr>
              <a:t>доб</a:t>
            </a:r>
            <a:r>
              <a:rPr lang="ru-RU" sz="2400" dirty="0" smtClean="0">
                <a:solidFill>
                  <a:schemeClr val="bg1"/>
                </a:solidFill>
              </a:rPr>
              <a:t>. 18-35 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ru-RU" sz="2400" dirty="0" smtClean="0">
                <a:solidFill>
                  <a:schemeClr val="bg1"/>
                </a:solidFill>
              </a:rPr>
              <a:t>(звонки по России бесплатные)</a:t>
            </a:r>
          </a:p>
          <a:p>
            <a:pPr lvl="0" algn="ctr">
              <a:spcBef>
                <a:spcPct val="20000"/>
              </a:spcBef>
            </a:pPr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Автор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11760" y="1988840"/>
            <a:ext cx="62646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10000"/>
                  </a:schemeClr>
                </a:solidFill>
              </a:rPr>
              <a:t>Борис Александрович Воронцов-Вельяминов</a:t>
            </a:r>
            <a:endParaRPr lang="ru-RU" sz="2400" b="1" dirty="0">
              <a:solidFill>
                <a:schemeClr val="accent6">
                  <a:lumMod val="10000"/>
                </a:schemeClr>
              </a:solidFill>
            </a:endParaRPr>
          </a:p>
        </p:txBody>
      </p:sp>
      <p:pic>
        <p:nvPicPr>
          <p:cNvPr id="8" name="Picture 4" descr="Boris Vorontsov-Velyaminov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2060848"/>
            <a:ext cx="1734316" cy="25202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2339752" y="2780928"/>
            <a:ext cx="65527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schemeClr val="accent6">
                    <a:lumMod val="10000"/>
                  </a:schemeClr>
                </a:solidFill>
              </a:rPr>
              <a:t>Член-корреспондент Академии педагогических наук СССР, сотрудник Государственного астрономического института им. П.К. </a:t>
            </a:r>
            <a:r>
              <a:rPr lang="ru-RU" sz="2000" dirty="0" err="1" smtClean="0">
                <a:solidFill>
                  <a:schemeClr val="accent6">
                    <a:lumMod val="10000"/>
                  </a:schemeClr>
                </a:solidFill>
              </a:rPr>
              <a:t>Штенберга</a:t>
            </a:r>
            <a:r>
              <a:rPr lang="ru-RU" sz="2000" dirty="0" smtClean="0">
                <a:solidFill>
                  <a:schemeClr val="accent6">
                    <a:lumMod val="10000"/>
                  </a:schemeClr>
                </a:solidFill>
              </a:rPr>
              <a:t>, заслуженный деятель науки РСФСР. Награждён премией и медалью АН СССР за открытие новых астрономических объектов. Автор школьного учебника по астрономи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втор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907704" y="476672"/>
            <a:ext cx="74168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Борис Александрович Воронцов-Вельяминов</a:t>
            </a:r>
            <a:endParaRPr lang="ru-RU" sz="2800" dirty="0">
              <a:solidFill>
                <a:schemeClr val="bg1"/>
              </a:solidFill>
            </a:endParaRPr>
          </a:p>
        </p:txBody>
      </p:sp>
      <p:pic>
        <p:nvPicPr>
          <p:cNvPr id="8" name="Picture 4" descr="Boris Vorontsov-Velyaminov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548680"/>
            <a:ext cx="1734316" cy="25202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2339752" y="1412776"/>
            <a:ext cx="65527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Член-корреспондент Академии педагогических наук СССР, сотрудник Государственного астрономического института им. П.К. </a:t>
            </a:r>
            <a:r>
              <a:rPr lang="ru-RU" sz="2000" dirty="0" err="1" smtClean="0"/>
              <a:t>Штенберга</a:t>
            </a:r>
            <a:r>
              <a:rPr lang="ru-RU" sz="2000" dirty="0" smtClean="0"/>
              <a:t>, заслуженный деятель науки РСФСР. Награждён премией и медалью АН СССР за открытие новых астрономических объектов. Автор школьного учебника по астрономии.</a:t>
            </a:r>
          </a:p>
        </p:txBody>
      </p:sp>
      <p:pic>
        <p:nvPicPr>
          <p:cNvPr id="10" name="Picture 2" descr="http://ivbb.ru/domain_dependent/ivbb.ru/uploadify/161a457d78456f86f454a32796f334e4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3429000"/>
            <a:ext cx="2267932" cy="328498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1" name="Picture 3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3429000"/>
            <a:ext cx="2267932" cy="328498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2" name="Содержимое 6" descr="5867_big.jpg"/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28184" y="3429000"/>
            <a:ext cx="2267932" cy="3284984"/>
          </a:xfrm>
          <a:prstGeom prst="rect">
            <a:avLst/>
          </a:prstGeom>
          <a:ln>
            <a:solidFill>
              <a:srgbClr val="005CAB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1628800"/>
            <a:ext cx="2304255" cy="3325341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>Состав УМК</a:t>
            </a:r>
            <a:br>
              <a:rPr lang="ru-RU" sz="3600" dirty="0" smtClean="0"/>
            </a:br>
            <a:r>
              <a:rPr lang="ru-RU" sz="3600" dirty="0" smtClean="0"/>
              <a:t>Астрономия  11 Базовый уровень</a:t>
            </a:r>
            <a:endParaRPr lang="ru-RU" sz="3600" dirty="0"/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0" y="1844824"/>
            <a:ext cx="457250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Учебник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 Рабочая программа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Методическое пособие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Электронная форма учебника</a:t>
            </a:r>
            <a:endParaRPr lang="ru-RU" sz="2400" dirty="0">
              <a:solidFill>
                <a:srgbClr val="003366"/>
              </a:solidFill>
              <a:latin typeface="Arial" charset="0"/>
            </a:endParaRPr>
          </a:p>
        </p:txBody>
      </p:sp>
      <p:pic>
        <p:nvPicPr>
          <p:cNvPr id="9" name="Содержимое 6" descr="5867_big.jpg"/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51920" y="1484784"/>
            <a:ext cx="2267932" cy="3284984"/>
          </a:xfrm>
          <a:prstGeom prst="rect">
            <a:avLst/>
          </a:prstGeom>
          <a:ln>
            <a:solidFill>
              <a:srgbClr val="005CAB"/>
            </a:solidFill>
          </a:ln>
        </p:spPr>
      </p:pic>
      <p:pic>
        <p:nvPicPr>
          <p:cNvPr id="14" name="Содержимое 5"/>
          <p:cNvPicPr>
            <a:picLocks noGrp="1"/>
          </p:cNvPicPr>
          <p:nvPr>
            <p:ph idx="1"/>
          </p:nvPr>
        </p:nvPicPr>
        <p:blipFill>
          <a:blip r:embed="rId5" cstate="print"/>
          <a:srcRect l="34474" t="11026" r="32496" b="4103"/>
          <a:stretch>
            <a:fillRect/>
          </a:stretch>
        </p:blipFill>
        <p:spPr bwMode="auto">
          <a:xfrm>
            <a:off x="4355976" y="2924944"/>
            <a:ext cx="2304256" cy="3312368"/>
          </a:xfrm>
          <a:prstGeom prst="rect">
            <a:avLst/>
          </a:prstGeom>
          <a:ln>
            <a:solidFill>
              <a:srgbClr val="005CAB"/>
            </a:solidFill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9744" y="3284984"/>
            <a:ext cx="2304256" cy="3376067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9</TotalTime>
  <Words>1197</Words>
  <Application>Microsoft Office PowerPoint</Application>
  <PresentationFormat>Экран (4:3)</PresentationFormat>
  <Paragraphs>274</Paragraphs>
  <Slides>61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1</vt:i4>
      </vt:variant>
    </vt:vector>
  </HeadingPairs>
  <TitlesOfParts>
    <vt:vector size="62" baseType="lpstr">
      <vt:lpstr>Тема Office</vt:lpstr>
      <vt:lpstr>УМК «Астрономия»  Базовый уровень 11 класс</vt:lpstr>
      <vt:lpstr>С 1 сентября 2017 года астрономия  становится обязательным учебным предметом</vt:lpstr>
      <vt:lpstr>Нормативные документы</vt:lpstr>
      <vt:lpstr>Основные положения</vt:lpstr>
      <vt:lpstr>Письмо Минобрнауки №ТС194/08 от 20.06.2017 </vt:lpstr>
      <vt:lpstr>Слайд 6</vt:lpstr>
      <vt:lpstr>Автор</vt:lpstr>
      <vt:lpstr>Автор</vt:lpstr>
      <vt:lpstr>Состав УМК Астрономия  11 Базовый уровень</vt:lpstr>
      <vt:lpstr>Рабочие программы</vt:lpstr>
      <vt:lpstr>Учебник</vt:lpstr>
      <vt:lpstr>Слайд 12</vt:lpstr>
      <vt:lpstr>Слайд 13</vt:lpstr>
      <vt:lpstr>Слайд 14</vt:lpstr>
      <vt:lpstr>Слайд 15</vt:lpstr>
      <vt:lpstr>Слайд 16</vt:lpstr>
      <vt:lpstr>Соответствие требований ФК ГОС к обязательному минимуму содержания основной образовательной программы по астрономии и содержания учебника</vt:lpstr>
      <vt:lpstr>Выдержка из требований ФК ГОС к обязательному минимуму содержания основной образовательной программе по физике (базовый и профильный уровни)</vt:lpstr>
      <vt:lpstr>Сравним программы по физике и астрономии</vt:lpstr>
      <vt:lpstr>Предмет астрономии</vt:lpstr>
      <vt:lpstr>Основы практической астрономии</vt:lpstr>
      <vt:lpstr>Законы движения небесных тел</vt:lpstr>
      <vt:lpstr>Солнечная система</vt:lpstr>
      <vt:lpstr>Методы астрономических исследований</vt:lpstr>
      <vt:lpstr>Звёзды</vt:lpstr>
      <vt:lpstr>Звёзды</vt:lpstr>
      <vt:lpstr>Звёзды</vt:lpstr>
      <vt:lpstr>Наша Галактика – Млечный Путь</vt:lpstr>
      <vt:lpstr>Галактики. Строение и эволюция Вселенной</vt:lpstr>
      <vt:lpstr>Соответствие учебника требованиям ФГОС</vt:lpstr>
      <vt:lpstr>Личностные результаты. Навыки учебно-исследовательской, проектной деятельности  </vt:lpstr>
      <vt:lpstr>Личностные результаты.  Формирование мышления, соответствующего современному развитию науки </vt:lpstr>
      <vt:lpstr>Метапредметные результаты.  Межпредметные понятия </vt:lpstr>
      <vt:lpstr>Метапредметные результаты.  Регулятивные УУД</vt:lpstr>
      <vt:lpstr>Метапредметные результаты.  Коммуникативные УУД</vt:lpstr>
      <vt:lpstr>Метапредметные результаты.  Познавательные УУД</vt:lpstr>
      <vt:lpstr>Предметные результаты.  Сформированность представлений о строении Солнечной системы</vt:lpstr>
      <vt:lpstr>Предметные результаты.  Сформированность представлений об эволюции звёзд и Вселенной</vt:lpstr>
      <vt:lpstr>Предметные результаты.  Сформированность представлений пространственно-временных масштабах Вселенной</vt:lpstr>
      <vt:lpstr>Предметные результаты.  Владение основополагающими астрономическими понятиями, теориями, законами и закономерностями</vt:lpstr>
      <vt:lpstr>Предметные результаты.  Осознание роли отечественной науки в освоении и использовании космического пространства</vt:lpstr>
      <vt:lpstr>Методическое пособие</vt:lpstr>
      <vt:lpstr>Структура  методического пособия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Слайд 61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 слайд</dc:title>
  <dc:creator>З.</dc:creator>
  <cp:lastModifiedBy>stelliferovskaya.nv</cp:lastModifiedBy>
  <cp:revision>250</cp:revision>
  <dcterms:created xsi:type="dcterms:W3CDTF">2017-05-24T14:24:06Z</dcterms:created>
  <dcterms:modified xsi:type="dcterms:W3CDTF">2017-08-11T11:48:45Z</dcterms:modified>
</cp:coreProperties>
</file>